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96"/>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7" r:id="rId42"/>
    <p:sldId id="1003" r:id="rId43"/>
    <p:sldId id="611" r:id="rId44"/>
    <p:sldId id="948" r:id="rId45"/>
    <p:sldId id="612" r:id="rId46"/>
    <p:sldId id="613" r:id="rId47"/>
    <p:sldId id="614" r:id="rId48"/>
    <p:sldId id="616" r:id="rId49"/>
    <p:sldId id="949" r:id="rId50"/>
    <p:sldId id="950" r:id="rId51"/>
    <p:sldId id="951" r:id="rId52"/>
    <p:sldId id="952" r:id="rId53"/>
    <p:sldId id="955" r:id="rId54"/>
    <p:sldId id="953" r:id="rId55"/>
    <p:sldId id="1012" r:id="rId56"/>
    <p:sldId id="1016" r:id="rId57"/>
    <p:sldId id="1013" r:id="rId58"/>
    <p:sldId id="1014" r:id="rId59"/>
    <p:sldId id="1015" r:id="rId60"/>
    <p:sldId id="1018" r:id="rId61"/>
    <p:sldId id="1043" r:id="rId62"/>
    <p:sldId id="1019" r:id="rId63"/>
    <p:sldId id="1071" r:id="rId64"/>
    <p:sldId id="1036" r:id="rId65"/>
    <p:sldId id="1037" r:id="rId66"/>
    <p:sldId id="1038" r:id="rId67"/>
    <p:sldId id="1040" r:id="rId68"/>
    <p:sldId id="1020" r:id="rId69"/>
    <p:sldId id="1021" r:id="rId70"/>
    <p:sldId id="1022" r:id="rId71"/>
    <p:sldId id="1023" r:id="rId72"/>
    <p:sldId id="1024" r:id="rId73"/>
    <p:sldId id="1025" r:id="rId74"/>
    <p:sldId id="1026" r:id="rId75"/>
    <p:sldId id="1027" r:id="rId76"/>
    <p:sldId id="1030" r:id="rId77"/>
    <p:sldId id="1031" r:id="rId78"/>
    <p:sldId id="1044" r:id="rId79"/>
    <p:sldId id="1042" r:id="rId80"/>
    <p:sldId id="1039" r:id="rId81"/>
    <p:sldId id="1032" r:id="rId82"/>
    <p:sldId id="1033" r:id="rId83"/>
    <p:sldId id="1034" r:id="rId84"/>
    <p:sldId id="1045" r:id="rId85"/>
    <p:sldId id="1035" r:id="rId86"/>
    <p:sldId id="1046" r:id="rId87"/>
    <p:sldId id="1047" r:id="rId88"/>
    <p:sldId id="1028" r:id="rId89"/>
    <p:sldId id="1048" r:id="rId90"/>
    <p:sldId id="1049" r:id="rId91"/>
    <p:sldId id="1050" r:id="rId92"/>
    <p:sldId id="1051" r:id="rId93"/>
    <p:sldId id="1052" r:id="rId94"/>
    <p:sldId id="1029" r:id="rId95"/>
    <p:sldId id="1053" r:id="rId96"/>
    <p:sldId id="1054" r:id="rId97"/>
    <p:sldId id="1055" r:id="rId98"/>
    <p:sldId id="1056" r:id="rId99"/>
    <p:sldId id="1057" r:id="rId100"/>
    <p:sldId id="1072" r:id="rId101"/>
    <p:sldId id="1060" r:id="rId102"/>
    <p:sldId id="1062" r:id="rId103"/>
    <p:sldId id="1064" r:id="rId104"/>
    <p:sldId id="1061" r:id="rId105"/>
    <p:sldId id="1065" r:id="rId106"/>
    <p:sldId id="1066" r:id="rId107"/>
    <p:sldId id="1070" r:id="rId108"/>
    <p:sldId id="1067" r:id="rId109"/>
    <p:sldId id="1068" r:id="rId110"/>
    <p:sldId id="1069" r:id="rId111"/>
    <p:sldId id="1058" r:id="rId112"/>
    <p:sldId id="1073" r:id="rId113"/>
    <p:sldId id="1059" r:id="rId114"/>
    <p:sldId id="1074" r:id="rId115"/>
    <p:sldId id="1075" r:id="rId116"/>
    <p:sldId id="1078" r:id="rId117"/>
    <p:sldId id="1079" r:id="rId118"/>
    <p:sldId id="1080" r:id="rId119"/>
    <p:sldId id="1008" r:id="rId120"/>
    <p:sldId id="1081" r:id="rId121"/>
    <p:sldId id="1076" r:id="rId122"/>
    <p:sldId id="1077" r:id="rId123"/>
    <p:sldId id="1082" r:id="rId124"/>
    <p:sldId id="1083" r:id="rId125"/>
    <p:sldId id="1084" r:id="rId126"/>
    <p:sldId id="1085" r:id="rId127"/>
    <p:sldId id="1088" r:id="rId128"/>
    <p:sldId id="1089" r:id="rId129"/>
    <p:sldId id="1090" r:id="rId130"/>
    <p:sldId id="1091" r:id="rId131"/>
    <p:sldId id="1087" r:id="rId132"/>
    <p:sldId id="1086" r:id="rId133"/>
    <p:sldId id="1092" r:id="rId134"/>
    <p:sldId id="1098" r:id="rId135"/>
    <p:sldId id="1093" r:id="rId136"/>
    <p:sldId id="1094" r:id="rId137"/>
    <p:sldId id="1095" r:id="rId138"/>
    <p:sldId id="1096" r:id="rId139"/>
    <p:sldId id="1103" r:id="rId140"/>
    <p:sldId id="1118" r:id="rId141"/>
    <p:sldId id="1097" r:id="rId142"/>
    <p:sldId id="1099" r:id="rId143"/>
    <p:sldId id="1100" r:id="rId144"/>
    <p:sldId id="1104" r:id="rId145"/>
    <p:sldId id="1107" r:id="rId146"/>
    <p:sldId id="1106" r:id="rId147"/>
    <p:sldId id="1108" r:id="rId148"/>
    <p:sldId id="1109" r:id="rId149"/>
    <p:sldId id="1110" r:id="rId150"/>
    <p:sldId id="1111" r:id="rId151"/>
    <p:sldId id="1009" r:id="rId152"/>
    <p:sldId id="1101" r:id="rId153"/>
    <p:sldId id="1102" r:id="rId154"/>
    <p:sldId id="1119" r:id="rId155"/>
    <p:sldId id="665" r:id="rId156"/>
    <p:sldId id="1122" r:id="rId157"/>
    <p:sldId id="1120" r:id="rId158"/>
    <p:sldId id="1121" r:id="rId159"/>
    <p:sldId id="834" r:id="rId160"/>
    <p:sldId id="838" r:id="rId161"/>
    <p:sldId id="839" r:id="rId162"/>
    <p:sldId id="841" r:id="rId163"/>
    <p:sldId id="842" r:id="rId164"/>
    <p:sldId id="843" r:id="rId165"/>
    <p:sldId id="835" r:id="rId166"/>
    <p:sldId id="844" r:id="rId167"/>
    <p:sldId id="836" r:id="rId168"/>
    <p:sldId id="846" r:id="rId169"/>
    <p:sldId id="847" r:id="rId170"/>
    <p:sldId id="868" r:id="rId171"/>
    <p:sldId id="869" r:id="rId172"/>
    <p:sldId id="872" r:id="rId173"/>
    <p:sldId id="870" r:id="rId174"/>
    <p:sldId id="1010" r:id="rId175"/>
    <p:sldId id="1112" r:id="rId176"/>
    <p:sldId id="1113" r:id="rId177"/>
    <p:sldId id="1114" r:id="rId178"/>
    <p:sldId id="1115" r:id="rId179"/>
    <p:sldId id="1116" r:id="rId180"/>
    <p:sldId id="1117" r:id="rId181"/>
    <p:sldId id="1105" r:id="rId182"/>
    <p:sldId id="1011" r:id="rId183"/>
    <p:sldId id="680" r:id="rId184"/>
    <p:sldId id="610" r:id="rId185"/>
    <p:sldId id="674" r:id="rId186"/>
    <p:sldId id="681" r:id="rId187"/>
    <p:sldId id="692" r:id="rId188"/>
    <p:sldId id="693" r:id="rId189"/>
    <p:sldId id="676" r:id="rId190"/>
    <p:sldId id="694" r:id="rId191"/>
    <p:sldId id="685" r:id="rId192"/>
    <p:sldId id="697" r:id="rId193"/>
    <p:sldId id="698" r:id="rId194"/>
    <p:sldId id="689" r:id="rId195"/>
    <p:sldId id="699" r:id="rId196"/>
    <p:sldId id="700" r:id="rId197"/>
    <p:sldId id="690" r:id="rId198"/>
    <p:sldId id="682" r:id="rId199"/>
    <p:sldId id="677" r:id="rId200"/>
    <p:sldId id="710" r:id="rId201"/>
    <p:sldId id="713" r:id="rId202"/>
    <p:sldId id="712" r:id="rId203"/>
    <p:sldId id="714" r:id="rId204"/>
    <p:sldId id="723" r:id="rId205"/>
    <p:sldId id="725" r:id="rId206"/>
    <p:sldId id="726" r:id="rId207"/>
    <p:sldId id="728" r:id="rId208"/>
    <p:sldId id="730" r:id="rId209"/>
    <p:sldId id="731" r:id="rId210"/>
    <p:sldId id="732" r:id="rId211"/>
    <p:sldId id="733" r:id="rId212"/>
    <p:sldId id="734" r:id="rId213"/>
    <p:sldId id="735" r:id="rId214"/>
    <p:sldId id="736" r:id="rId215"/>
    <p:sldId id="737" r:id="rId216"/>
    <p:sldId id="707" r:id="rId217"/>
    <p:sldId id="738" r:id="rId218"/>
    <p:sldId id="739" r:id="rId219"/>
    <p:sldId id="740" r:id="rId220"/>
    <p:sldId id="741" r:id="rId221"/>
    <p:sldId id="743" r:id="rId222"/>
    <p:sldId id="742" r:id="rId223"/>
    <p:sldId id="744" r:id="rId224"/>
    <p:sldId id="745" r:id="rId225"/>
    <p:sldId id="746" r:id="rId226"/>
    <p:sldId id="747" r:id="rId227"/>
    <p:sldId id="748" r:id="rId228"/>
    <p:sldId id="749" r:id="rId229"/>
    <p:sldId id="750" r:id="rId230"/>
    <p:sldId id="751" r:id="rId231"/>
    <p:sldId id="752" r:id="rId232"/>
    <p:sldId id="755" r:id="rId233"/>
    <p:sldId id="756" r:id="rId234"/>
    <p:sldId id="757" r:id="rId235"/>
    <p:sldId id="758" r:id="rId236"/>
    <p:sldId id="759" r:id="rId237"/>
    <p:sldId id="760" r:id="rId238"/>
    <p:sldId id="761" r:id="rId239"/>
    <p:sldId id="762" r:id="rId240"/>
    <p:sldId id="817" r:id="rId241"/>
    <p:sldId id="765" r:id="rId242"/>
    <p:sldId id="766" r:id="rId243"/>
    <p:sldId id="767" r:id="rId244"/>
    <p:sldId id="769" r:id="rId245"/>
    <p:sldId id="784" r:id="rId246"/>
    <p:sldId id="785" r:id="rId247"/>
    <p:sldId id="786" r:id="rId248"/>
    <p:sldId id="770" r:id="rId249"/>
    <p:sldId id="768" r:id="rId250"/>
    <p:sldId id="798" r:id="rId251"/>
    <p:sldId id="803" r:id="rId252"/>
    <p:sldId id="804" r:id="rId253"/>
    <p:sldId id="805" r:id="rId254"/>
    <p:sldId id="806" r:id="rId255"/>
    <p:sldId id="807" r:id="rId256"/>
    <p:sldId id="763" r:id="rId257"/>
    <p:sldId id="810" r:id="rId258"/>
    <p:sldId id="827" r:id="rId259"/>
    <p:sldId id="831" r:id="rId260"/>
    <p:sldId id="832" r:id="rId261"/>
    <p:sldId id="833" r:id="rId262"/>
    <p:sldId id="830" r:id="rId263"/>
    <p:sldId id="837" r:id="rId264"/>
    <p:sldId id="850" r:id="rId265"/>
    <p:sldId id="877" r:id="rId266"/>
    <p:sldId id="878" r:id="rId267"/>
    <p:sldId id="879" r:id="rId268"/>
    <p:sldId id="881" r:id="rId269"/>
    <p:sldId id="885" r:id="rId270"/>
    <p:sldId id="882" r:id="rId271"/>
    <p:sldId id="883" r:id="rId272"/>
    <p:sldId id="884" r:id="rId273"/>
    <p:sldId id="849" r:id="rId274"/>
    <p:sldId id="880" r:id="rId275"/>
    <p:sldId id="873" r:id="rId276"/>
    <p:sldId id="886" r:id="rId277"/>
    <p:sldId id="891" r:id="rId278"/>
    <p:sldId id="887" r:id="rId279"/>
    <p:sldId id="888" r:id="rId280"/>
    <p:sldId id="889" r:id="rId281"/>
    <p:sldId id="890" r:id="rId282"/>
    <p:sldId id="892" r:id="rId283"/>
    <p:sldId id="933" r:id="rId284"/>
    <p:sldId id="935" r:id="rId285"/>
    <p:sldId id="932" r:id="rId286"/>
    <p:sldId id="934" r:id="rId287"/>
    <p:sldId id="931" r:id="rId288"/>
    <p:sldId id="936" r:id="rId289"/>
    <p:sldId id="823" r:id="rId290"/>
    <p:sldId id="821" r:id="rId291"/>
    <p:sldId id="825" r:id="rId292"/>
    <p:sldId id="824" r:id="rId293"/>
    <p:sldId id="822" r:id="rId294"/>
    <p:sldId id="296" r:id="rId29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3"/>
            <p14:sldId id="1114"/>
            <p14:sldId id="1115"/>
            <p14:sldId id="1116"/>
            <p14:sldId id="1117"/>
            <p14:sldId id="1105"/>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0075D6"/>
    <a:srgbClr val="575352"/>
    <a:srgbClr val="FFFFFF"/>
    <a:srgbClr val="742774"/>
    <a:srgbClr val="262626"/>
    <a:srgbClr val="8E98A7"/>
    <a:srgbClr val="768092"/>
    <a:srgbClr val="404040"/>
    <a:srgbClr val="FA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29" autoAdjust="0"/>
    <p:restoredTop sz="87540" autoAdjust="0"/>
  </p:normalViewPr>
  <p:slideViewPr>
    <p:cSldViewPr snapToGrid="0">
      <p:cViewPr varScale="1">
        <p:scale>
          <a:sx n="108" d="100"/>
          <a:sy n="108" d="100"/>
        </p:scale>
        <p:origin x="486" y="10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theme" Target="theme/theme1.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291" Type="http://schemas.openxmlformats.org/officeDocument/2006/relationships/slide" Target="slides/slide287.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slide" Target="slides/slide277.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92" Type="http://schemas.openxmlformats.org/officeDocument/2006/relationships/slide" Target="slides/slide288.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notesMaster" Target="notesMasters/notesMaster1.xml"/><Relationship Id="rId300" Type="http://schemas.openxmlformats.org/officeDocument/2006/relationships/tableStyles" Target="tableStyles.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slideMaster" Target="slideMasters/slideMaster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presProps" Target="presProps.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viewProps" Target="viewProps.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4.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1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4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289.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11" Type="http://schemas.openxmlformats.org/officeDocument/2006/relationships/hyperlink" Target="https://docs.microsoft.com/en-us/learn/browse/?products=powerapps&amp;resource_type=learning%20path#step-1"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9 6: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9 6: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a:p>
            <a:r>
              <a:rPr lang="en-US"/>
              <a:t>Microsoft Learn: </a:t>
            </a:r>
            <a:r>
              <a:rPr lang="en-US">
                <a:hlinkClick r:id="rId11"/>
              </a:rPr>
              <a:t>https://docs.microsoft.com/en-us/learn/browse/?products=powerapps&amp;resource_type=learning%2520path#step-1</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9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1/2019 6: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11/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1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0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1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1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1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11/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11/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11/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0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1.png"/></Relationships>
</file>

<file path=ppt/slides/_rels/slide11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7.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89.sv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57.sv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5.png"/></Relationships>
</file>

<file path=ppt/slides/_rels/slide119.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89.sv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3.gif"/><Relationship Id="rId5" Type="http://schemas.openxmlformats.org/officeDocument/2006/relationships/hyperlink" Target="https://go.microsoft.com/fwlink/?LinkId=2083007&amp;clcid=0x409" TargetMode="External"/><Relationship Id="rId4" Type="http://schemas.openxmlformats.org/officeDocument/2006/relationships/image" Target="../media/image32.png"/></Relationships>
</file>

<file path=ppt/slides/_rels/slide12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6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https://www.gartner.com/doc/reprints?id=1-57IQ201&amp;ct=180717&amp;st=sb"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3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89.sv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89.sv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6.png"/><Relationship Id="rId7" Type="http://schemas.openxmlformats.org/officeDocument/2006/relationships/image" Target="../media/image89.sv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6.jpeg"/><Relationship Id="rId4" Type="http://schemas.openxmlformats.org/officeDocument/2006/relationships/image" Target="../media/image35.png"/></Relationships>
</file>

<file path=ppt/slides/_rels/slide14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4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7.png"/></Relationships>
</file>

<file path=ppt/slides/_rels/slide15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89.png"/></Relationships>
</file>

<file path=ppt/slides/_rels/slide1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2.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91.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0.png"/></Relationships>
</file>

<file path=ppt/slides/_rels/slide153.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10" Type="http://schemas.openxmlformats.org/officeDocument/2006/relationships/image" Target="../media/image195.png"/><Relationship Id="rId4" Type="http://schemas.openxmlformats.org/officeDocument/2006/relationships/hyperlink" Target="http://fleitasarts.com/" TargetMode="External"/><Relationship Id="rId9" Type="http://schemas.openxmlformats.org/officeDocument/2006/relationships/image" Target="../media/image194.png"/></Relationships>
</file>

<file path=ppt/slides/_rels/slide154.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198.png"/><Relationship Id="rId4" Type="http://schemas.openxmlformats.org/officeDocument/2006/relationships/image" Target="../media/image197.png"/><Relationship Id="rId9" Type="http://schemas.openxmlformats.org/officeDocument/2006/relationships/image" Target="../media/image5.png"/></Relationships>
</file>

<file path=ppt/slides/_rels/slide15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8.png"/></Relationships>
</file>

<file path=ppt/slides/_rels/slide15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9.png"/></Relationships>
</file>

<file path=ppt/slides/_rels/slide15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0.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gif"/><Relationship Id="rId15" Type="http://schemas.openxmlformats.org/officeDocument/2006/relationships/image" Target="../media/image5.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1.png"/></Relationships>
</file>

<file path=ppt/slides/_rels/slide1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2.png"/></Relationships>
</file>

<file path=ppt/slides/_rels/slide1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3.png"/></Relationships>
</file>

<file path=ppt/slides/_rels/slide1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4.png"/></Relationships>
</file>

<file path=ppt/slides/_rels/slide1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5.png"/></Relationships>
</file>

<file path=ppt/slides/_rels/slide1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6.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7.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8.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9.png"/></Relationships>
</file>

<file path=ppt/slides/_rels/slide16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1.png"/><Relationship Id="rId4" Type="http://schemas.openxmlformats.org/officeDocument/2006/relationships/image" Target="../media/image50.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12.png"/></Relationships>
</file>

<file path=ppt/slides/_rels/slide1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7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3.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9.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218.png"/><Relationship Id="rId4" Type="http://schemas.openxmlformats.org/officeDocument/2006/relationships/hyperlink" Target="http://fleitasarts.com/" TargetMode="External"/><Relationship Id="rId9" Type="http://schemas.openxmlformats.org/officeDocument/2006/relationships/image" Target="../media/image217.png"/></Relationships>
</file>

<file path=ppt/slides/_rels/slide181.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8.png"/><Relationship Id="rId7"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 Id="rId9" Type="http://schemas.openxmlformats.org/officeDocument/2006/relationships/image" Target="../media/image191.png"/></Relationships>
</file>

<file path=ppt/slides/_rels/slide182.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20.png"/><Relationship Id="rId9" Type="http://schemas.openxmlformats.org/officeDocument/2006/relationships/image" Target="../media/image191.png"/></Relationships>
</file>

<file path=ppt/slides/_rels/slide184.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5.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91.png"/><Relationship Id="rId5" Type="http://schemas.openxmlformats.org/officeDocument/2006/relationships/hyperlink" Target="http://fleitasarts.com/" TargetMode="External"/><Relationship Id="rId10" Type="http://schemas.openxmlformats.org/officeDocument/2006/relationships/image" Target="../media/image216.png"/><Relationship Id="rId4" Type="http://schemas.openxmlformats.org/officeDocument/2006/relationships/image" Target="../media/image28.png"/><Relationship Id="rId9" Type="http://schemas.openxmlformats.org/officeDocument/2006/relationships/image" Target="../media/image222.png"/></Relationships>
</file>

<file path=ppt/slides/_rels/slide18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24.png"/><Relationship Id="rId4" Type="http://schemas.openxmlformats.org/officeDocument/2006/relationships/image" Target="../media/image223.png"/></Relationships>
</file>

<file path=ppt/slides/_rels/slide186.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26.png"/><Relationship Id="rId7" Type="http://schemas.openxmlformats.org/officeDocument/2006/relationships/image" Target="../media/image227.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190.xml.rels><?xml version="1.0" encoding="UTF-8" standalone="yes"?>
<Relationships xmlns="http://schemas.openxmlformats.org/package/2006/relationships"><Relationship Id="rId3" Type="http://schemas.openxmlformats.org/officeDocument/2006/relationships/image" Target="../media/image226.png"/><Relationship Id="rId7" Type="http://schemas.openxmlformats.org/officeDocument/2006/relationships/image" Target="../media/image228.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29.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30.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31.png"/></Relationships>
</file>

<file path=ppt/slides/_rels/slide194.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235.png"/><Relationship Id="rId7" Type="http://schemas.openxmlformats.org/officeDocument/2006/relationships/image" Target="../media/image15.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15.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1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4.jpeg"/></Relationships>
</file>

<file path=ppt/slides/_rels/slide200.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5.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15.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15.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15.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5.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44.png"/><Relationship Id="rId7" Type="http://schemas.openxmlformats.org/officeDocument/2006/relationships/image" Target="../media/image15.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5.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5.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5.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5.jpeg"/></Relationships>
</file>

<file path=ppt/slides/_rels/slide210.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15.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49.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50.png"/><Relationship Id="rId7" Type="http://schemas.openxmlformats.org/officeDocument/2006/relationships/image" Target="../media/image15.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5.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52.png"/><Relationship Id="rId7" Type="http://schemas.openxmlformats.org/officeDocument/2006/relationships/image" Target="../media/image15.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5.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15.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6.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15.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55.png"/><Relationship Id="rId7" Type="http://schemas.openxmlformats.org/officeDocument/2006/relationships/image" Target="../media/image15.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8.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15.png"/><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57.png"/><Relationship Id="rId7" Type="http://schemas.openxmlformats.org/officeDocument/2006/relationships/image" Target="../media/image15.png"/><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6.jpeg"/></Relationships>
</file>

<file path=ppt/slides/_rels/slide220.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15.png"/><Relationship Id="rId2" Type="http://schemas.openxmlformats.org/officeDocument/2006/relationships/notesSlide" Target="../notesSlides/notesSlide21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5.png"/><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image" Target="../media/image15.png"/><Relationship Id="rId2" Type="http://schemas.openxmlformats.org/officeDocument/2006/relationships/notesSlide" Target="../notesSlides/notesSlide21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61.png"/><Relationship Id="rId7" Type="http://schemas.openxmlformats.org/officeDocument/2006/relationships/image" Target="../media/image15.png"/><Relationship Id="rId2" Type="http://schemas.openxmlformats.org/officeDocument/2006/relationships/notesSlide" Target="../notesSlides/notesSlide21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62.png"/><Relationship Id="rId7" Type="http://schemas.openxmlformats.org/officeDocument/2006/relationships/image" Target="../media/image15.png"/><Relationship Id="rId2" Type="http://schemas.openxmlformats.org/officeDocument/2006/relationships/notesSlide" Target="../notesSlides/notesSlide21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image" Target="../media/image15.png"/><Relationship Id="rId2" Type="http://schemas.openxmlformats.org/officeDocument/2006/relationships/notesSlide" Target="../notesSlides/notesSlide21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64.png"/><Relationship Id="rId7" Type="http://schemas.openxmlformats.org/officeDocument/2006/relationships/image" Target="../media/image15.png"/><Relationship Id="rId2" Type="http://schemas.openxmlformats.org/officeDocument/2006/relationships/notesSlide" Target="../notesSlides/notesSlide21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65.png"/><Relationship Id="rId7" Type="http://schemas.openxmlformats.org/officeDocument/2006/relationships/image" Target="../media/image15.png"/><Relationship Id="rId2" Type="http://schemas.openxmlformats.org/officeDocument/2006/relationships/notesSlide" Target="../notesSlides/notesSlide21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66.png"/><Relationship Id="rId7" Type="http://schemas.openxmlformats.org/officeDocument/2006/relationships/image" Target="../media/image15.png"/><Relationship Id="rId2" Type="http://schemas.openxmlformats.org/officeDocument/2006/relationships/notesSlide" Target="../notesSlides/notesSlide21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67.png"/><Relationship Id="rId7" Type="http://schemas.openxmlformats.org/officeDocument/2006/relationships/image" Target="../media/image15.png"/><Relationship Id="rId2" Type="http://schemas.openxmlformats.org/officeDocument/2006/relationships/notesSlide" Target="../notesSlides/notesSlide22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7.jpeg"/></Relationships>
</file>

<file path=ppt/slides/_rels/slide230.xml.rels><?xml version="1.0" encoding="UTF-8" standalone="yes"?>
<Relationships xmlns="http://schemas.openxmlformats.org/package/2006/relationships"><Relationship Id="rId3" Type="http://schemas.openxmlformats.org/officeDocument/2006/relationships/image" Target="../media/image268.png"/><Relationship Id="rId7" Type="http://schemas.openxmlformats.org/officeDocument/2006/relationships/image" Target="../media/image15.png"/><Relationship Id="rId2" Type="http://schemas.openxmlformats.org/officeDocument/2006/relationships/notesSlide" Target="../notesSlides/notesSlide22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69.png"/><Relationship Id="rId7" Type="http://schemas.openxmlformats.org/officeDocument/2006/relationships/image" Target="../media/image15.png"/><Relationship Id="rId2" Type="http://schemas.openxmlformats.org/officeDocument/2006/relationships/notesSlide" Target="../notesSlides/notesSlide22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70.png"/><Relationship Id="rId7" Type="http://schemas.openxmlformats.org/officeDocument/2006/relationships/image" Target="../media/image15.png"/><Relationship Id="rId2" Type="http://schemas.openxmlformats.org/officeDocument/2006/relationships/notesSlide" Target="../notesSlides/notesSlide22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71.png"/><Relationship Id="rId7" Type="http://schemas.openxmlformats.org/officeDocument/2006/relationships/image" Target="../media/image15.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15.png"/><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73.png"/><Relationship Id="rId7" Type="http://schemas.openxmlformats.org/officeDocument/2006/relationships/image" Target="../media/image15.png"/><Relationship Id="rId2" Type="http://schemas.openxmlformats.org/officeDocument/2006/relationships/notesSlide" Target="../notesSlides/notesSlide22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74.png"/><Relationship Id="rId7" Type="http://schemas.openxmlformats.org/officeDocument/2006/relationships/image" Target="../media/image15.png"/><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15.png"/><Relationship Id="rId2" Type="http://schemas.openxmlformats.org/officeDocument/2006/relationships/notesSlide" Target="../notesSlides/notesSlide228.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38.xml.rels><?xml version="1.0" encoding="UTF-8" standalone="yes"?>
<Relationships xmlns="http://schemas.openxmlformats.org/package/2006/relationships"><Relationship Id="rId3" Type="http://schemas.openxmlformats.org/officeDocument/2006/relationships/image" Target="../media/image276.png"/><Relationship Id="rId7" Type="http://schemas.openxmlformats.org/officeDocument/2006/relationships/image" Target="../media/image15.png"/><Relationship Id="rId2" Type="http://schemas.openxmlformats.org/officeDocument/2006/relationships/notesSlide" Target="../notesSlides/notesSlide22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77.png"/><Relationship Id="rId7" Type="http://schemas.openxmlformats.org/officeDocument/2006/relationships/image" Target="../media/image15.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0.xml.rels><?xml version="1.0" encoding="UTF-8" standalone="yes"?>
<Relationships xmlns="http://schemas.openxmlformats.org/package/2006/relationships"><Relationship Id="rId3" Type="http://schemas.openxmlformats.org/officeDocument/2006/relationships/image" Target="../media/image278.png"/><Relationship Id="rId7" Type="http://schemas.openxmlformats.org/officeDocument/2006/relationships/image" Target="../media/image15.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79.png"/><Relationship Id="rId7" Type="http://schemas.openxmlformats.org/officeDocument/2006/relationships/image" Target="../media/image15.png"/><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80.png"/><Relationship Id="rId7" Type="http://schemas.openxmlformats.org/officeDocument/2006/relationships/image" Target="../media/image15.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281.png"/><Relationship Id="rId7" Type="http://schemas.openxmlformats.org/officeDocument/2006/relationships/image" Target="../media/image15.png"/><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4.xml.rels><?xml version="1.0" encoding="UTF-8" standalone="yes"?>
<Relationships xmlns="http://schemas.openxmlformats.org/package/2006/relationships"><Relationship Id="rId3" Type="http://schemas.openxmlformats.org/officeDocument/2006/relationships/image" Target="../media/image282.png"/><Relationship Id="rId7" Type="http://schemas.openxmlformats.org/officeDocument/2006/relationships/image" Target="../media/image15.png"/><Relationship Id="rId2" Type="http://schemas.openxmlformats.org/officeDocument/2006/relationships/notesSlide" Target="../notesSlides/notesSlide23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5.xml.rels><?xml version="1.0" encoding="UTF-8" standalone="yes"?>
<Relationships xmlns="http://schemas.openxmlformats.org/package/2006/relationships"><Relationship Id="rId3" Type="http://schemas.openxmlformats.org/officeDocument/2006/relationships/image" Target="../media/image283.png"/><Relationship Id="rId7" Type="http://schemas.openxmlformats.org/officeDocument/2006/relationships/image" Target="../media/image15.png"/><Relationship Id="rId2" Type="http://schemas.openxmlformats.org/officeDocument/2006/relationships/notesSlide" Target="../notesSlides/notesSlide23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6.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15.png"/><Relationship Id="rId2" Type="http://schemas.openxmlformats.org/officeDocument/2006/relationships/notesSlide" Target="../notesSlides/notesSlide23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7.xml.rels><?xml version="1.0" encoding="UTF-8" standalone="yes"?>
<Relationships xmlns="http://schemas.openxmlformats.org/package/2006/relationships"><Relationship Id="rId3" Type="http://schemas.openxmlformats.org/officeDocument/2006/relationships/image" Target="../media/image285.png"/><Relationship Id="rId7" Type="http://schemas.openxmlformats.org/officeDocument/2006/relationships/image" Target="../media/image15.png"/><Relationship Id="rId2" Type="http://schemas.openxmlformats.org/officeDocument/2006/relationships/notesSlide" Target="../notesSlides/notesSlide23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8.xml.rels><?xml version="1.0" encoding="UTF-8" standalone="yes"?>
<Relationships xmlns="http://schemas.openxmlformats.org/package/2006/relationships"><Relationship Id="rId3" Type="http://schemas.openxmlformats.org/officeDocument/2006/relationships/image" Target="../media/image286.png"/><Relationship Id="rId7" Type="http://schemas.openxmlformats.org/officeDocument/2006/relationships/image" Target="../media/image15.png"/><Relationship Id="rId2" Type="http://schemas.openxmlformats.org/officeDocument/2006/relationships/notesSlide" Target="../notesSlides/notesSlide23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9.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image" Target="../media/image287.png"/><Relationship Id="rId7" Type="http://schemas.openxmlformats.org/officeDocument/2006/relationships/image" Target="../media/image15.png"/><Relationship Id="rId2" Type="http://schemas.openxmlformats.org/officeDocument/2006/relationships/notesSlide" Target="../notesSlides/notesSlide24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89.png"/></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5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90.png"/><Relationship Id="rId7" Type="http://schemas.openxmlformats.org/officeDocument/2006/relationships/image" Target="../media/image14.png"/><Relationship Id="rId2" Type="http://schemas.openxmlformats.org/officeDocument/2006/relationships/notesSlide" Target="../notesSlides/notesSlide24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291.png"/></Relationships>
</file>

<file path=ppt/slides/_rels/slide251.xml.rels><?xml version="1.0" encoding="UTF-8" standalone="yes"?>
<Relationships xmlns="http://schemas.openxmlformats.org/package/2006/relationships"><Relationship Id="rId3" Type="http://schemas.openxmlformats.org/officeDocument/2006/relationships/image" Target="../media/image292.png"/><Relationship Id="rId7" Type="http://schemas.openxmlformats.org/officeDocument/2006/relationships/image" Target="../media/image15.png"/><Relationship Id="rId2" Type="http://schemas.openxmlformats.org/officeDocument/2006/relationships/notesSlide" Target="../notesSlides/notesSlide24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2.xml.rels><?xml version="1.0" encoding="UTF-8" standalone="yes"?>
<Relationships xmlns="http://schemas.openxmlformats.org/package/2006/relationships"><Relationship Id="rId3" Type="http://schemas.openxmlformats.org/officeDocument/2006/relationships/image" Target="../media/image293.png"/><Relationship Id="rId7" Type="http://schemas.openxmlformats.org/officeDocument/2006/relationships/image" Target="../media/image15.png"/><Relationship Id="rId2" Type="http://schemas.openxmlformats.org/officeDocument/2006/relationships/notesSlide" Target="../notesSlides/notesSlide24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3.xml.rels><?xml version="1.0" encoding="UTF-8" standalone="yes"?>
<Relationships xmlns="http://schemas.openxmlformats.org/package/2006/relationships"><Relationship Id="rId8" Type="http://schemas.openxmlformats.org/officeDocument/2006/relationships/image" Target="../media/image294.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24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4.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8.png"/><Relationship Id="rId7" Type="http://schemas.openxmlformats.org/officeDocument/2006/relationships/image" Target="../media/image295.png"/><Relationship Id="rId2" Type="http://schemas.openxmlformats.org/officeDocument/2006/relationships/notesSlide" Target="../notesSlides/notesSlide24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5.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15.png"/><Relationship Id="rId2" Type="http://schemas.openxmlformats.org/officeDocument/2006/relationships/notesSlide" Target="../notesSlides/notesSlide246.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56.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4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7.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4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8.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4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9.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5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0.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5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1.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5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2.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5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3.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5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4.xml.rels><?xml version="1.0" encoding="UTF-8" standalone="yes"?>
<Relationships xmlns="http://schemas.openxmlformats.org/package/2006/relationships"><Relationship Id="rId3" Type="http://schemas.openxmlformats.org/officeDocument/2006/relationships/image" Target="../media/image304.png"/><Relationship Id="rId7" Type="http://schemas.openxmlformats.org/officeDocument/2006/relationships/image" Target="../media/image305.png"/><Relationship Id="rId2" Type="http://schemas.openxmlformats.org/officeDocument/2006/relationships/notesSlide" Target="../notesSlides/notesSlide25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5.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5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6.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5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7.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5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8.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5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9.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6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0.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26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10" Type="http://schemas.openxmlformats.org/officeDocument/2006/relationships/image" Target="../media/image311.png"/><Relationship Id="rId4" Type="http://schemas.openxmlformats.org/officeDocument/2006/relationships/image" Target="../media/image216.png"/><Relationship Id="rId9" Type="http://schemas.openxmlformats.org/officeDocument/2006/relationships/image" Target="../media/image191.png"/></Relationships>
</file>

<file path=ppt/slides/_rels/slide271.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6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png"/><Relationship Id="rId7" Type="http://schemas.openxmlformats.org/officeDocument/2006/relationships/image" Target="../media/image14.png"/><Relationship Id="rId2" Type="http://schemas.openxmlformats.org/officeDocument/2006/relationships/notesSlide" Target="../notesSlides/notesSlide26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13.png"/><Relationship Id="rId10" Type="http://schemas.openxmlformats.org/officeDocument/2006/relationships/image" Target="../media/image191.png"/><Relationship Id="rId4" Type="http://schemas.openxmlformats.org/officeDocument/2006/relationships/image" Target="../media/image216.png"/><Relationship Id="rId9" Type="http://schemas.openxmlformats.org/officeDocument/2006/relationships/image" Target="../media/image192.png"/></Relationships>
</file>

<file path=ppt/slides/_rels/slide273.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6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4.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image" Target="../media/image315.png"/><Relationship Id="rId7" Type="http://schemas.openxmlformats.org/officeDocument/2006/relationships/image" Target="../media/image15.png"/><Relationship Id="rId2" Type="http://schemas.openxmlformats.org/officeDocument/2006/relationships/notesSlide" Target="../notesSlides/notesSlide26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89.png"/></Relationships>
</file>

<file path=ppt/slides/_rels/slide275.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6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6.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26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7.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8.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6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9.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7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7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1.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7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2.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7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3.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7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4.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27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5.xml.rels><?xml version="1.0" encoding="UTF-8" standalone="yes"?>
<Relationships xmlns="http://schemas.openxmlformats.org/package/2006/relationships"><Relationship Id="rId8" Type="http://schemas.openxmlformats.org/officeDocument/2006/relationships/image" Target="../media/image294.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27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6.xml.rels><?xml version="1.0" encoding="UTF-8" standalone="yes"?>
<Relationships xmlns="http://schemas.openxmlformats.org/package/2006/relationships"><Relationship Id="rId3" Type="http://schemas.openxmlformats.org/officeDocument/2006/relationships/image" Target="../media/image326.png"/><Relationship Id="rId7" Type="http://schemas.openxmlformats.org/officeDocument/2006/relationships/image" Target="../media/image15.png"/><Relationship Id="rId2" Type="http://schemas.openxmlformats.org/officeDocument/2006/relationships/notesSlide" Target="../notesSlides/notesSlide277.xml"/><Relationship Id="rId1" Type="http://schemas.openxmlformats.org/officeDocument/2006/relationships/slideLayout" Target="../slideLayouts/slideLayout51.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28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27.png"/><Relationship Id="rId7" Type="http://schemas.openxmlformats.org/officeDocument/2006/relationships/image" Target="../media/image14.png"/><Relationship Id="rId2" Type="http://schemas.openxmlformats.org/officeDocument/2006/relationships/notesSlide" Target="../notesSlides/notesSlide278.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288.xml.rels><?xml version="1.0" encoding="UTF-8" standalone="yes"?>
<Relationships xmlns="http://schemas.openxmlformats.org/package/2006/relationships"><Relationship Id="rId8" Type="http://schemas.openxmlformats.org/officeDocument/2006/relationships/image" Target="../media/image294.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2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9.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image" Target="../media/image328.png"/><Relationship Id="rId7" Type="http://schemas.openxmlformats.org/officeDocument/2006/relationships/image" Target="../media/image15.png"/><Relationship Id="rId2" Type="http://schemas.openxmlformats.org/officeDocument/2006/relationships/notesSlide" Target="../notesSlides/notesSlide280.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0.xml.rels><?xml version="1.0" encoding="UTF-8" standalone="yes"?>
<Relationships xmlns="http://schemas.openxmlformats.org/package/2006/relationships"><Relationship Id="rId8" Type="http://schemas.openxmlformats.org/officeDocument/2006/relationships/image" Target="../media/image330.png"/><Relationship Id="rId13" Type="http://schemas.openxmlformats.org/officeDocument/2006/relationships/hyperlink" Target="https://github.com/hfleitas" TargetMode="External"/><Relationship Id="rId3" Type="http://schemas.openxmlformats.org/officeDocument/2006/relationships/image" Target="../media/image327.png"/><Relationship Id="rId7" Type="http://schemas.openxmlformats.org/officeDocument/2006/relationships/hyperlink" Target="http://fleitasarts.com/" TargetMode="External"/><Relationship Id="rId12" Type="http://schemas.openxmlformats.org/officeDocument/2006/relationships/image" Target="../media/image331.png"/><Relationship Id="rId17" Type="http://schemas.openxmlformats.org/officeDocument/2006/relationships/image" Target="../media/image15.png"/><Relationship Id="rId2" Type="http://schemas.openxmlformats.org/officeDocument/2006/relationships/notesSlide" Target="../notesSlides/notesSlide281.xml"/><Relationship Id="rId16" Type="http://schemas.openxmlformats.org/officeDocument/2006/relationships/image" Target="../media/image14.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329.png"/></Relationships>
</file>

<file path=ppt/slides/_rels/slide291.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notesSlide" Target="../notesSlides/notesSlide28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3.png"/></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102.png"/><Relationship Id="rId4" Type="http://schemas.openxmlformats.org/officeDocument/2006/relationships/image" Target="../media/image5.png"/></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1.png"/><Relationship Id="rId3" Type="http://schemas.openxmlformats.org/officeDocument/2006/relationships/image" Target="../media/image13.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5.png"/><Relationship Id="rId12" Type="http://schemas.openxmlformats.org/officeDocument/2006/relationships/image" Target="../media/image19.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7.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6.png"/><Relationship Id="rId14" Type="http://schemas.openxmlformats.org/officeDocument/2006/relationships/image" Target="../media/image20.png"/><Relationship Id="rId22"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89.sv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microsoft.com/office/2007/relationships/hdphoto" Target="../media/hdphoto3.wdp"/></Relationships>
</file>

<file path=ppt/slides/_rels/slide8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9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1A3D5B-D72C-488B-89C1-EDF7BFB8362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7D7430-C0EF-4DB5-B6E0-5101B85F640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0731450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668833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9179935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168820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7609554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040</TotalTime>
  <Words>14475</Words>
  <Application>Microsoft Office PowerPoint</Application>
  <PresentationFormat>Widescreen</PresentationFormat>
  <Paragraphs>1665</Paragraphs>
  <Slides>291</Slides>
  <Notes>282</Notes>
  <HiddenSlides>1</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91</vt:i4>
      </vt:variant>
    </vt:vector>
  </HeadingPairs>
  <TitlesOfParts>
    <vt:vector size="310" baseType="lpstr">
      <vt:lpstr>Arial</vt:lpstr>
      <vt:lpstr>Calibri</vt:lpstr>
      <vt:lpstr>Calibri Light</vt:lpstr>
      <vt:lpstr>Century Gothic</vt:lpstr>
      <vt:lpstr>Consolas</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Platform - Game Changer</dc:title>
  <dc:creator>Hiram Fleitas</dc:creator>
  <cp:keywords>PowerApps, Microsoft Flow, Power BI, Cortana</cp:keywords>
  <cp:lastModifiedBy>Hiram Fleitas</cp:lastModifiedBy>
  <cp:revision>695</cp:revision>
  <dcterms:created xsi:type="dcterms:W3CDTF">2016-05-30T15:33:26Z</dcterms:created>
  <dcterms:modified xsi:type="dcterms:W3CDTF">2019-05-12T14:36:50Z</dcterms:modified>
  <cp:category>PowerApps</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